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79" r:id="rId2"/>
    <p:sldId id="277" r:id="rId3"/>
    <p:sldId id="261" r:id="rId4"/>
    <p:sldId id="268" r:id="rId5"/>
    <p:sldId id="269" r:id="rId6"/>
    <p:sldId id="270" r:id="rId7"/>
    <p:sldId id="271" r:id="rId8"/>
    <p:sldId id="289" r:id="rId9"/>
    <p:sldId id="259" r:id="rId10"/>
    <p:sldId id="260" r:id="rId11"/>
    <p:sldId id="288" r:id="rId12"/>
    <p:sldId id="287" r:id="rId13"/>
    <p:sldId id="263" r:id="rId14"/>
    <p:sldId id="264" r:id="rId15"/>
    <p:sldId id="265" r:id="rId16"/>
    <p:sldId id="286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441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6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E40783-25A8-43E6-BE6B-1D64DEE63C19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</dgm:pt>
    <dgm:pt modelId="{04CB35EC-0748-4259-A624-BCD8E7CAD408}">
      <dgm:prSet phldrT="[Text]" custT="1"/>
      <dgm:spPr/>
      <dgm:t>
        <a:bodyPr/>
        <a:lstStyle/>
        <a:p>
          <a:r>
            <a:rPr lang="en-US" sz="1800" dirty="0" smtClean="0">
              <a:latin typeface="+mn-lt"/>
            </a:rPr>
            <a:t>1. Create set of 25 question codes using the </a:t>
          </a:r>
          <a:r>
            <a:rPr lang="en-US" sz="1800" b="1" dirty="0" smtClean="0">
              <a:solidFill>
                <a:srgbClr val="FFC000"/>
              </a:solidFill>
              <a:latin typeface="+mn-lt"/>
            </a:rPr>
            <a:t>Random Question Generator</a:t>
          </a:r>
          <a:endParaRPr lang="en-US" sz="1800" b="1" dirty="0">
            <a:solidFill>
              <a:srgbClr val="FFC000"/>
            </a:solidFill>
            <a:latin typeface="+mn-lt"/>
          </a:endParaRPr>
        </a:p>
      </dgm:t>
    </dgm:pt>
    <dgm:pt modelId="{C7FFD4C3-B198-444D-AA1F-BC8EE8229510}" type="parTrans" cxnId="{B517A7A1-8B81-4FAE-B8E6-0665E85A4018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4C8B7585-B213-47A0-A8C2-AA9B054D3138}" type="sibTrans" cxnId="{B517A7A1-8B81-4FAE-B8E6-0665E85A4018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D78D4301-B58D-4012-8621-600A8D4A2293}">
      <dgm:prSet phldrT="[Text]" custT="1"/>
      <dgm:spPr/>
      <dgm:t>
        <a:bodyPr/>
        <a:lstStyle/>
        <a:p>
          <a:r>
            <a:rPr lang="en-US" sz="1800" dirty="0" smtClean="0">
              <a:latin typeface="+mn-lt"/>
            </a:rPr>
            <a:t>2. Transfer the question codes generated to the </a:t>
          </a:r>
          <a:r>
            <a:rPr lang="en-US" sz="1800" b="1" dirty="0" smtClean="0">
              <a:solidFill>
                <a:srgbClr val="FFC000"/>
              </a:solidFill>
              <a:latin typeface="+mn-lt"/>
            </a:rPr>
            <a:t>Question Tracker Sheet</a:t>
          </a:r>
          <a:endParaRPr lang="en-US" sz="1800" b="1" dirty="0">
            <a:solidFill>
              <a:srgbClr val="FFC000"/>
            </a:solidFill>
            <a:latin typeface="+mn-lt"/>
          </a:endParaRPr>
        </a:p>
      </dgm:t>
    </dgm:pt>
    <dgm:pt modelId="{0A988B74-AD49-420D-9632-0A160378848E}" type="parTrans" cxnId="{4FED34E1-296E-45E1-ADDE-D282CEA43FD6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9BFCD30F-7A53-4572-8369-93A8FE543662}" type="sibTrans" cxnId="{4FED34E1-296E-45E1-ADDE-D282CEA43FD6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50E982B1-D5F6-413D-BE34-B2FC3A285DB8}">
      <dgm:prSet phldrT="[Text]" custT="1"/>
      <dgm:spPr/>
      <dgm:t>
        <a:bodyPr/>
        <a:lstStyle/>
        <a:p>
          <a:r>
            <a:rPr lang="en-US" sz="1800" dirty="0" smtClean="0">
              <a:latin typeface="+mn-lt"/>
            </a:rPr>
            <a:t>4. Transfer the matching questions to the </a:t>
          </a:r>
          <a:r>
            <a:rPr lang="en-US" sz="1800" b="1" dirty="0" smtClean="0">
              <a:solidFill>
                <a:srgbClr val="FFC000"/>
              </a:solidFill>
              <a:latin typeface="+mn-lt"/>
            </a:rPr>
            <a:t>Written Examination Questions Version and Answer key</a:t>
          </a:r>
          <a:endParaRPr lang="en-US" sz="1800" b="1" dirty="0">
            <a:solidFill>
              <a:srgbClr val="FFC000"/>
            </a:solidFill>
            <a:latin typeface="+mn-lt"/>
          </a:endParaRPr>
        </a:p>
      </dgm:t>
    </dgm:pt>
    <dgm:pt modelId="{401AE9A0-557B-434B-947B-5DF1841C03F7}" type="parTrans" cxnId="{73CAD60A-D79B-4ED1-86A8-3E301606DFC6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A5CAD074-319A-4CAC-8A2B-935B7B083CD0}" type="sibTrans" cxnId="{73CAD60A-D79B-4ED1-86A8-3E301606DFC6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0E42FB55-2D56-46EC-9A97-8611FBC1F2CD}">
      <dgm:prSet phldrT="[Text]" custT="1"/>
      <dgm:spPr/>
      <dgm:t>
        <a:bodyPr/>
        <a:lstStyle/>
        <a:p>
          <a:r>
            <a:rPr lang="en-US" sz="1800" dirty="0" smtClean="0">
              <a:latin typeface="+mn-lt"/>
            </a:rPr>
            <a:t>3. Select the matching questions from the </a:t>
          </a:r>
          <a:r>
            <a:rPr lang="en-US" sz="1800" b="1" dirty="0" smtClean="0">
              <a:solidFill>
                <a:srgbClr val="FFC000"/>
              </a:solidFill>
              <a:latin typeface="+mn-lt"/>
            </a:rPr>
            <a:t>Question Bank</a:t>
          </a:r>
          <a:r>
            <a:rPr lang="en-US" sz="1800" b="1" dirty="0" smtClean="0">
              <a:solidFill>
                <a:srgbClr val="FFFF00"/>
              </a:solidFill>
              <a:latin typeface="+mn-lt"/>
            </a:rPr>
            <a:t> </a:t>
          </a:r>
          <a:r>
            <a:rPr lang="en-US" sz="1800" b="0" dirty="0" smtClean="0">
              <a:latin typeface="+mn-lt"/>
            </a:rPr>
            <a:t>created</a:t>
          </a:r>
          <a:endParaRPr lang="en-US" sz="1800" b="0" dirty="0">
            <a:latin typeface="+mn-lt"/>
          </a:endParaRPr>
        </a:p>
      </dgm:t>
    </dgm:pt>
    <dgm:pt modelId="{5A63B5A8-B130-4C00-80DF-A2DF6AE63575}" type="parTrans" cxnId="{127F88C6-C2CB-409C-BF39-F1B4135A01D1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F6415A6D-FE91-4C2C-A626-5DB3C20FA477}" type="sibTrans" cxnId="{127F88C6-C2CB-409C-BF39-F1B4135A01D1}">
      <dgm:prSet/>
      <dgm:spPr/>
      <dgm:t>
        <a:bodyPr/>
        <a:lstStyle/>
        <a:p>
          <a:endParaRPr lang="en-US" sz="1800">
            <a:latin typeface="+mn-lt"/>
          </a:endParaRPr>
        </a:p>
      </dgm:t>
    </dgm:pt>
    <dgm:pt modelId="{1A25F7F2-6575-4FE8-BB92-5926B4EB4BAD}">
      <dgm:prSet phldrT="[Text]" custT="1"/>
      <dgm:spPr/>
      <dgm:t>
        <a:bodyPr/>
        <a:lstStyle/>
        <a:p>
          <a:pPr algn="ctr"/>
          <a:r>
            <a:rPr lang="en-US" sz="1800" b="0" dirty="0" smtClean="0">
              <a:solidFill>
                <a:schemeClr val="bg1"/>
              </a:solidFill>
              <a:latin typeface="+mn-lt"/>
            </a:rPr>
            <a:t>5. Print the </a:t>
          </a:r>
          <a:r>
            <a:rPr lang="en-US" sz="1800" b="1" dirty="0" smtClean="0">
              <a:solidFill>
                <a:srgbClr val="FFC000"/>
              </a:solidFill>
              <a:latin typeface="+mn-lt"/>
            </a:rPr>
            <a:t>Written Examination Questions version </a:t>
          </a:r>
          <a:r>
            <a:rPr lang="en-US" sz="1800" b="0" dirty="0" smtClean="0">
              <a:solidFill>
                <a:schemeClr val="bg1"/>
              </a:solidFill>
              <a:latin typeface="+mn-lt"/>
            </a:rPr>
            <a:t>with the </a:t>
          </a:r>
          <a:r>
            <a:rPr lang="en-US" sz="1800" b="1" dirty="0" smtClean="0">
              <a:solidFill>
                <a:srgbClr val="FFC000"/>
              </a:solidFill>
              <a:latin typeface="+mn-lt"/>
            </a:rPr>
            <a:t>Examination Sheet </a:t>
          </a:r>
          <a:r>
            <a:rPr lang="en-US" sz="1800" b="0" dirty="0" smtClean="0">
              <a:solidFill>
                <a:schemeClr val="bg1"/>
              </a:solidFill>
              <a:latin typeface="+mn-lt"/>
            </a:rPr>
            <a:t>for each exam to be administered</a:t>
          </a:r>
          <a:endParaRPr lang="en-US" sz="1800" b="0" dirty="0">
            <a:solidFill>
              <a:schemeClr val="bg1"/>
            </a:solidFill>
            <a:latin typeface="+mn-lt"/>
          </a:endParaRPr>
        </a:p>
      </dgm:t>
    </dgm:pt>
    <dgm:pt modelId="{0DD4FDCA-6087-48D3-949A-244A226C7649}" type="parTrans" cxnId="{50587F1F-8F7C-4995-8B8F-B6097824A2D5}">
      <dgm:prSet/>
      <dgm:spPr/>
      <dgm:t>
        <a:bodyPr/>
        <a:lstStyle/>
        <a:p>
          <a:endParaRPr lang="en-US" sz="1800"/>
        </a:p>
      </dgm:t>
    </dgm:pt>
    <dgm:pt modelId="{CFE408E7-0A55-45AB-9AD3-0820FEECA541}" type="sibTrans" cxnId="{50587F1F-8F7C-4995-8B8F-B6097824A2D5}">
      <dgm:prSet/>
      <dgm:spPr/>
      <dgm:t>
        <a:bodyPr/>
        <a:lstStyle/>
        <a:p>
          <a:endParaRPr lang="en-US" sz="1800"/>
        </a:p>
      </dgm:t>
    </dgm:pt>
    <dgm:pt modelId="{7CBAD707-E94E-4DCA-916B-4422810CAA96}" type="pres">
      <dgm:prSet presAssocID="{11E40783-25A8-43E6-BE6B-1D64DEE63C19}" presName="rootnode" presStyleCnt="0">
        <dgm:presLayoutVars>
          <dgm:chMax/>
          <dgm:chPref/>
          <dgm:dir/>
          <dgm:animLvl val="lvl"/>
        </dgm:presLayoutVars>
      </dgm:prSet>
      <dgm:spPr/>
    </dgm:pt>
    <dgm:pt modelId="{09CF4A51-79D1-468B-B6CF-B765B2958B4F}" type="pres">
      <dgm:prSet presAssocID="{04CB35EC-0748-4259-A624-BCD8E7CAD408}" presName="composite" presStyleCnt="0"/>
      <dgm:spPr/>
    </dgm:pt>
    <dgm:pt modelId="{3BA93F87-C8AC-4686-837F-DB06E4521744}" type="pres">
      <dgm:prSet presAssocID="{04CB35EC-0748-4259-A624-BCD8E7CAD408}" presName="bentUpArrow1" presStyleLbl="alignImgPlace1" presStyleIdx="0" presStyleCnt="4" custLinFactNeighborY="-4054"/>
      <dgm:spPr>
        <a:solidFill>
          <a:srgbClr val="FFC000"/>
        </a:solidFill>
      </dgm:spPr>
    </dgm:pt>
    <dgm:pt modelId="{8630F2D7-0582-4165-B2D4-8294C119200B}" type="pres">
      <dgm:prSet presAssocID="{04CB35EC-0748-4259-A624-BCD8E7CAD408}" presName="ParentText" presStyleLbl="node1" presStyleIdx="0" presStyleCnt="5" custScaleX="304475" custLinFactNeighborX="503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29C833-5D81-4AF3-A22B-CAF78E4D8115}" type="pres">
      <dgm:prSet presAssocID="{04CB35EC-0748-4259-A624-BCD8E7CAD408}" presName="ChildText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9CB52329-1C1B-4240-8B74-7A9F223AC63A}" type="pres">
      <dgm:prSet presAssocID="{4C8B7585-B213-47A0-A8C2-AA9B054D3138}" presName="sibTrans" presStyleCnt="0"/>
      <dgm:spPr/>
    </dgm:pt>
    <dgm:pt modelId="{2B90FBA6-02CD-40EB-8DF0-10DD51E2F0C1}" type="pres">
      <dgm:prSet presAssocID="{D78D4301-B58D-4012-8621-600A8D4A2293}" presName="composite" presStyleCnt="0"/>
      <dgm:spPr/>
    </dgm:pt>
    <dgm:pt modelId="{42D3F465-A9B9-42A7-96A2-5351DF939E53}" type="pres">
      <dgm:prSet presAssocID="{D78D4301-B58D-4012-8621-600A8D4A2293}" presName="bentUpArrow1" presStyleLbl="alignImgPlace1" presStyleIdx="1" presStyleCnt="4" custLinFactNeighborY="-4054"/>
      <dgm:spPr>
        <a:solidFill>
          <a:srgbClr val="FFC000"/>
        </a:solidFill>
      </dgm:spPr>
    </dgm:pt>
    <dgm:pt modelId="{A0F86482-C45B-4DD5-BF41-98A9B9D285FF}" type="pres">
      <dgm:prSet presAssocID="{D78D4301-B58D-4012-8621-600A8D4A2293}" presName="ParentText" presStyleLbl="node1" presStyleIdx="1" presStyleCnt="5" custScaleX="304475" custLinFactNeighborX="503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832866-040D-41F0-9AAA-87E3E96C7FE5}" type="pres">
      <dgm:prSet presAssocID="{D78D4301-B58D-4012-8621-600A8D4A2293}" presName="ChildText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04C30E88-D306-4DCA-B3D5-690FCAC914B4}" type="pres">
      <dgm:prSet presAssocID="{9BFCD30F-7A53-4572-8369-93A8FE543662}" presName="sibTrans" presStyleCnt="0"/>
      <dgm:spPr/>
    </dgm:pt>
    <dgm:pt modelId="{72D1834E-76E5-4546-A963-ED1B51673FBB}" type="pres">
      <dgm:prSet presAssocID="{0E42FB55-2D56-46EC-9A97-8611FBC1F2CD}" presName="composite" presStyleCnt="0"/>
      <dgm:spPr/>
    </dgm:pt>
    <dgm:pt modelId="{4831E03E-C34C-446C-8140-C79D6064DF41}" type="pres">
      <dgm:prSet presAssocID="{0E42FB55-2D56-46EC-9A97-8611FBC1F2CD}" presName="bentUpArrow1" presStyleLbl="alignImgPlace1" presStyleIdx="2" presStyleCnt="4"/>
      <dgm:spPr>
        <a:solidFill>
          <a:srgbClr val="FFC000"/>
        </a:solidFill>
      </dgm:spPr>
    </dgm:pt>
    <dgm:pt modelId="{7709F8B9-B4EE-4E91-A617-C7F9F9DD31AA}" type="pres">
      <dgm:prSet presAssocID="{0E42FB55-2D56-46EC-9A97-8611FBC1F2CD}" presName="ParentText" presStyleLbl="node1" presStyleIdx="2" presStyleCnt="5" custScaleX="304475" custLinFactNeighborX="503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7F97A8-0CBB-46AC-B0D4-0D84437E4206}" type="pres">
      <dgm:prSet presAssocID="{0E42FB55-2D56-46EC-9A97-8611FBC1F2CD}" presName="ChildText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A9242401-22AC-40F2-A4F5-0C5D9403750D}" type="pres">
      <dgm:prSet presAssocID="{F6415A6D-FE91-4C2C-A626-5DB3C20FA477}" presName="sibTrans" presStyleCnt="0"/>
      <dgm:spPr/>
    </dgm:pt>
    <dgm:pt modelId="{3A2B3CA6-7ED0-4D6F-8D73-E3FA2FD54387}" type="pres">
      <dgm:prSet presAssocID="{50E982B1-D5F6-413D-BE34-B2FC3A285DB8}" presName="composite" presStyleCnt="0"/>
      <dgm:spPr/>
    </dgm:pt>
    <dgm:pt modelId="{A8E10D0D-1E5F-4187-B311-55E435532C5C}" type="pres">
      <dgm:prSet presAssocID="{50E982B1-D5F6-413D-BE34-B2FC3A285DB8}" presName="bentUpArrow1" presStyleLbl="alignImgPlace1" presStyleIdx="3" presStyleCnt="4"/>
      <dgm:spPr>
        <a:solidFill>
          <a:srgbClr val="FFC000"/>
        </a:solidFill>
      </dgm:spPr>
    </dgm:pt>
    <dgm:pt modelId="{6CF96CD8-0E2B-4516-BE8A-8BB6B95BF27C}" type="pres">
      <dgm:prSet presAssocID="{50E982B1-D5F6-413D-BE34-B2FC3A285DB8}" presName="ParentText" presStyleLbl="node1" presStyleIdx="3" presStyleCnt="5" custScaleX="304475" custLinFactNeighborX="503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4DA0BE-6BA4-426F-A8EE-A26B0DA8C702}" type="pres">
      <dgm:prSet presAssocID="{50E982B1-D5F6-413D-BE34-B2FC3A285DB8}" presName="ChildText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05E7F346-B1D0-4348-999D-D6FC644E8AE6}" type="pres">
      <dgm:prSet presAssocID="{A5CAD074-319A-4CAC-8A2B-935B7B083CD0}" presName="sibTrans" presStyleCnt="0"/>
      <dgm:spPr/>
    </dgm:pt>
    <dgm:pt modelId="{5E95D728-1795-4377-ABEB-F8C859BFFE0A}" type="pres">
      <dgm:prSet presAssocID="{1A25F7F2-6575-4FE8-BB92-5926B4EB4BAD}" presName="composite" presStyleCnt="0"/>
      <dgm:spPr/>
    </dgm:pt>
    <dgm:pt modelId="{9928CCB2-5870-4DDA-95B8-72877258FBBF}" type="pres">
      <dgm:prSet presAssocID="{1A25F7F2-6575-4FE8-BB92-5926B4EB4BAD}" presName="ParentText" presStyleLbl="node1" presStyleIdx="4" presStyleCnt="5" custScaleX="32927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0587F1F-8F7C-4995-8B8F-B6097824A2D5}" srcId="{11E40783-25A8-43E6-BE6B-1D64DEE63C19}" destId="{1A25F7F2-6575-4FE8-BB92-5926B4EB4BAD}" srcOrd="4" destOrd="0" parTransId="{0DD4FDCA-6087-48D3-949A-244A226C7649}" sibTransId="{CFE408E7-0A55-45AB-9AD3-0820FEECA541}"/>
    <dgm:cxn modelId="{4FED34E1-296E-45E1-ADDE-D282CEA43FD6}" srcId="{11E40783-25A8-43E6-BE6B-1D64DEE63C19}" destId="{D78D4301-B58D-4012-8621-600A8D4A2293}" srcOrd="1" destOrd="0" parTransId="{0A988B74-AD49-420D-9632-0A160378848E}" sibTransId="{9BFCD30F-7A53-4572-8369-93A8FE543662}"/>
    <dgm:cxn modelId="{89A1BC6C-BA27-4A39-9C83-1C2C4541DA05}" type="presOf" srcId="{04CB35EC-0748-4259-A624-BCD8E7CAD408}" destId="{8630F2D7-0582-4165-B2D4-8294C119200B}" srcOrd="0" destOrd="0" presId="urn:microsoft.com/office/officeart/2005/8/layout/StepDownProcess"/>
    <dgm:cxn modelId="{F4CCB158-684B-4D89-932D-5B672EB3E1A4}" type="presOf" srcId="{1A25F7F2-6575-4FE8-BB92-5926B4EB4BAD}" destId="{9928CCB2-5870-4DDA-95B8-72877258FBBF}" srcOrd="0" destOrd="0" presId="urn:microsoft.com/office/officeart/2005/8/layout/StepDownProcess"/>
    <dgm:cxn modelId="{D6E5B769-2D62-47F0-BBF0-D75780B8B45C}" type="presOf" srcId="{50E982B1-D5F6-413D-BE34-B2FC3A285DB8}" destId="{6CF96CD8-0E2B-4516-BE8A-8BB6B95BF27C}" srcOrd="0" destOrd="0" presId="urn:microsoft.com/office/officeart/2005/8/layout/StepDownProcess"/>
    <dgm:cxn modelId="{B517A7A1-8B81-4FAE-B8E6-0665E85A4018}" srcId="{11E40783-25A8-43E6-BE6B-1D64DEE63C19}" destId="{04CB35EC-0748-4259-A624-BCD8E7CAD408}" srcOrd="0" destOrd="0" parTransId="{C7FFD4C3-B198-444D-AA1F-BC8EE8229510}" sibTransId="{4C8B7585-B213-47A0-A8C2-AA9B054D3138}"/>
    <dgm:cxn modelId="{D78CCD2E-095F-4766-879B-1CC0A54FBB8F}" type="presOf" srcId="{D78D4301-B58D-4012-8621-600A8D4A2293}" destId="{A0F86482-C45B-4DD5-BF41-98A9B9D285FF}" srcOrd="0" destOrd="0" presId="urn:microsoft.com/office/officeart/2005/8/layout/StepDownProcess"/>
    <dgm:cxn modelId="{73CAD60A-D79B-4ED1-86A8-3E301606DFC6}" srcId="{11E40783-25A8-43E6-BE6B-1D64DEE63C19}" destId="{50E982B1-D5F6-413D-BE34-B2FC3A285DB8}" srcOrd="3" destOrd="0" parTransId="{401AE9A0-557B-434B-947B-5DF1841C03F7}" sibTransId="{A5CAD074-319A-4CAC-8A2B-935B7B083CD0}"/>
    <dgm:cxn modelId="{47B9D068-DC3E-4745-9786-2E8936661533}" type="presOf" srcId="{0E42FB55-2D56-46EC-9A97-8611FBC1F2CD}" destId="{7709F8B9-B4EE-4E91-A617-C7F9F9DD31AA}" srcOrd="0" destOrd="0" presId="urn:microsoft.com/office/officeart/2005/8/layout/StepDownProcess"/>
    <dgm:cxn modelId="{127F88C6-C2CB-409C-BF39-F1B4135A01D1}" srcId="{11E40783-25A8-43E6-BE6B-1D64DEE63C19}" destId="{0E42FB55-2D56-46EC-9A97-8611FBC1F2CD}" srcOrd="2" destOrd="0" parTransId="{5A63B5A8-B130-4C00-80DF-A2DF6AE63575}" sibTransId="{F6415A6D-FE91-4C2C-A626-5DB3C20FA477}"/>
    <dgm:cxn modelId="{F75F2347-56BC-49BF-8A35-B1D84F0E20F0}" type="presOf" srcId="{11E40783-25A8-43E6-BE6B-1D64DEE63C19}" destId="{7CBAD707-E94E-4DCA-916B-4422810CAA96}" srcOrd="0" destOrd="0" presId="urn:microsoft.com/office/officeart/2005/8/layout/StepDownProcess"/>
    <dgm:cxn modelId="{C9851441-CF95-4AFC-89F9-DC09E48F3699}" type="presParOf" srcId="{7CBAD707-E94E-4DCA-916B-4422810CAA96}" destId="{09CF4A51-79D1-468B-B6CF-B765B2958B4F}" srcOrd="0" destOrd="0" presId="urn:microsoft.com/office/officeart/2005/8/layout/StepDownProcess"/>
    <dgm:cxn modelId="{C6AFE2CD-537C-4368-B23D-85326224BF68}" type="presParOf" srcId="{09CF4A51-79D1-468B-B6CF-B765B2958B4F}" destId="{3BA93F87-C8AC-4686-837F-DB06E4521744}" srcOrd="0" destOrd="0" presId="urn:microsoft.com/office/officeart/2005/8/layout/StepDownProcess"/>
    <dgm:cxn modelId="{7A82CF1C-C25E-46F0-9FF7-1F8271E3BD66}" type="presParOf" srcId="{09CF4A51-79D1-468B-B6CF-B765B2958B4F}" destId="{8630F2D7-0582-4165-B2D4-8294C119200B}" srcOrd="1" destOrd="0" presId="urn:microsoft.com/office/officeart/2005/8/layout/StepDownProcess"/>
    <dgm:cxn modelId="{3120CA57-EE97-48C0-B015-E86B5505E43A}" type="presParOf" srcId="{09CF4A51-79D1-468B-B6CF-B765B2958B4F}" destId="{9029C833-5D81-4AF3-A22B-CAF78E4D8115}" srcOrd="2" destOrd="0" presId="urn:microsoft.com/office/officeart/2005/8/layout/StepDownProcess"/>
    <dgm:cxn modelId="{556017A5-A49F-475F-8C77-3046E13A4C56}" type="presParOf" srcId="{7CBAD707-E94E-4DCA-916B-4422810CAA96}" destId="{9CB52329-1C1B-4240-8B74-7A9F223AC63A}" srcOrd="1" destOrd="0" presId="urn:microsoft.com/office/officeart/2005/8/layout/StepDownProcess"/>
    <dgm:cxn modelId="{E5F723D7-2E23-44C7-9010-3492B68FB036}" type="presParOf" srcId="{7CBAD707-E94E-4DCA-916B-4422810CAA96}" destId="{2B90FBA6-02CD-40EB-8DF0-10DD51E2F0C1}" srcOrd="2" destOrd="0" presId="urn:microsoft.com/office/officeart/2005/8/layout/StepDownProcess"/>
    <dgm:cxn modelId="{F6701C03-E75A-4EAF-B74A-1610DAF4CCEB}" type="presParOf" srcId="{2B90FBA6-02CD-40EB-8DF0-10DD51E2F0C1}" destId="{42D3F465-A9B9-42A7-96A2-5351DF939E53}" srcOrd="0" destOrd="0" presId="urn:microsoft.com/office/officeart/2005/8/layout/StepDownProcess"/>
    <dgm:cxn modelId="{1A03C087-2585-4BE6-9C09-865D19ABBD17}" type="presParOf" srcId="{2B90FBA6-02CD-40EB-8DF0-10DD51E2F0C1}" destId="{A0F86482-C45B-4DD5-BF41-98A9B9D285FF}" srcOrd="1" destOrd="0" presId="urn:microsoft.com/office/officeart/2005/8/layout/StepDownProcess"/>
    <dgm:cxn modelId="{76F1441A-83EF-4658-8F5C-B4EF04ED4731}" type="presParOf" srcId="{2B90FBA6-02CD-40EB-8DF0-10DD51E2F0C1}" destId="{EA832866-040D-41F0-9AAA-87E3E96C7FE5}" srcOrd="2" destOrd="0" presId="urn:microsoft.com/office/officeart/2005/8/layout/StepDownProcess"/>
    <dgm:cxn modelId="{1440A46E-731E-4569-87BC-EC433B694329}" type="presParOf" srcId="{7CBAD707-E94E-4DCA-916B-4422810CAA96}" destId="{04C30E88-D306-4DCA-B3D5-690FCAC914B4}" srcOrd="3" destOrd="0" presId="urn:microsoft.com/office/officeart/2005/8/layout/StepDownProcess"/>
    <dgm:cxn modelId="{A17A5BDF-246F-46A3-AF46-CA097BB352AF}" type="presParOf" srcId="{7CBAD707-E94E-4DCA-916B-4422810CAA96}" destId="{72D1834E-76E5-4546-A963-ED1B51673FBB}" srcOrd="4" destOrd="0" presId="urn:microsoft.com/office/officeart/2005/8/layout/StepDownProcess"/>
    <dgm:cxn modelId="{A790E25E-2378-4AC4-A7D7-EF54BECA9A50}" type="presParOf" srcId="{72D1834E-76E5-4546-A963-ED1B51673FBB}" destId="{4831E03E-C34C-446C-8140-C79D6064DF41}" srcOrd="0" destOrd="0" presId="urn:microsoft.com/office/officeart/2005/8/layout/StepDownProcess"/>
    <dgm:cxn modelId="{31EDBA56-BD0E-4D54-8470-D4E0EB5AC545}" type="presParOf" srcId="{72D1834E-76E5-4546-A963-ED1B51673FBB}" destId="{7709F8B9-B4EE-4E91-A617-C7F9F9DD31AA}" srcOrd="1" destOrd="0" presId="urn:microsoft.com/office/officeart/2005/8/layout/StepDownProcess"/>
    <dgm:cxn modelId="{F4E865E9-A925-4052-8F73-D234D5E8589B}" type="presParOf" srcId="{72D1834E-76E5-4546-A963-ED1B51673FBB}" destId="{FA7F97A8-0CBB-46AC-B0D4-0D84437E4206}" srcOrd="2" destOrd="0" presId="urn:microsoft.com/office/officeart/2005/8/layout/StepDownProcess"/>
    <dgm:cxn modelId="{31175FAE-63A2-4ED0-BE97-00E51A5A2CBC}" type="presParOf" srcId="{7CBAD707-E94E-4DCA-916B-4422810CAA96}" destId="{A9242401-22AC-40F2-A4F5-0C5D9403750D}" srcOrd="5" destOrd="0" presId="urn:microsoft.com/office/officeart/2005/8/layout/StepDownProcess"/>
    <dgm:cxn modelId="{DBC14DC5-D8A0-4655-9F50-8CA0D8E46725}" type="presParOf" srcId="{7CBAD707-E94E-4DCA-916B-4422810CAA96}" destId="{3A2B3CA6-7ED0-4D6F-8D73-E3FA2FD54387}" srcOrd="6" destOrd="0" presId="urn:microsoft.com/office/officeart/2005/8/layout/StepDownProcess"/>
    <dgm:cxn modelId="{B13EF41D-F485-4ABC-B31C-728AB5896BA9}" type="presParOf" srcId="{3A2B3CA6-7ED0-4D6F-8D73-E3FA2FD54387}" destId="{A8E10D0D-1E5F-4187-B311-55E435532C5C}" srcOrd="0" destOrd="0" presId="urn:microsoft.com/office/officeart/2005/8/layout/StepDownProcess"/>
    <dgm:cxn modelId="{B9E6B2F4-485B-48ED-9B35-7B2457F0B81B}" type="presParOf" srcId="{3A2B3CA6-7ED0-4D6F-8D73-E3FA2FD54387}" destId="{6CF96CD8-0E2B-4516-BE8A-8BB6B95BF27C}" srcOrd="1" destOrd="0" presId="urn:microsoft.com/office/officeart/2005/8/layout/StepDownProcess"/>
    <dgm:cxn modelId="{68814967-D867-4C65-841A-35B41F90F895}" type="presParOf" srcId="{3A2B3CA6-7ED0-4D6F-8D73-E3FA2FD54387}" destId="{CD4DA0BE-6BA4-426F-A8EE-A26B0DA8C702}" srcOrd="2" destOrd="0" presId="urn:microsoft.com/office/officeart/2005/8/layout/StepDownProcess"/>
    <dgm:cxn modelId="{798D4EA1-502E-4D81-9E42-9099E5C35F17}" type="presParOf" srcId="{7CBAD707-E94E-4DCA-916B-4422810CAA96}" destId="{05E7F346-B1D0-4348-999D-D6FC644E8AE6}" srcOrd="7" destOrd="0" presId="urn:microsoft.com/office/officeart/2005/8/layout/StepDownProcess"/>
    <dgm:cxn modelId="{1FC19286-F4D5-4292-B3E6-452701AC0A02}" type="presParOf" srcId="{7CBAD707-E94E-4DCA-916B-4422810CAA96}" destId="{5E95D728-1795-4377-ABEB-F8C859BFFE0A}" srcOrd="8" destOrd="0" presId="urn:microsoft.com/office/officeart/2005/8/layout/StepDownProcess"/>
    <dgm:cxn modelId="{DE48D08B-9D3A-40FA-BA01-C3957F3025F8}" type="presParOf" srcId="{5E95D728-1795-4377-ABEB-F8C859BFFE0A}" destId="{9928CCB2-5870-4DDA-95B8-72877258FBBF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A93F87-C8AC-4686-837F-DB06E4521744}">
      <dsp:nvSpPr>
        <dsp:cNvPr id="0" name=""/>
        <dsp:cNvSpPr/>
      </dsp:nvSpPr>
      <dsp:spPr>
        <a:xfrm rot="5400000">
          <a:off x="1523803" y="1065314"/>
          <a:ext cx="763138" cy="868805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30F2D7-0582-4165-B2D4-8294C119200B}">
      <dsp:nvSpPr>
        <dsp:cNvPr id="0" name=""/>
        <dsp:cNvSpPr/>
      </dsp:nvSpPr>
      <dsp:spPr>
        <a:xfrm>
          <a:off x="72920" y="250298"/>
          <a:ext cx="3911516" cy="899231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+mn-lt"/>
            </a:rPr>
            <a:t>1. Create set of 25 question codes using the </a:t>
          </a:r>
          <a:r>
            <a:rPr lang="en-US" sz="1800" b="1" kern="1200" dirty="0" smtClean="0">
              <a:solidFill>
                <a:srgbClr val="FFC000"/>
              </a:solidFill>
              <a:latin typeface="+mn-lt"/>
            </a:rPr>
            <a:t>Random Question Generator</a:t>
          </a:r>
          <a:endParaRPr lang="en-US" sz="1800" b="1" kern="1200" dirty="0">
            <a:solidFill>
              <a:srgbClr val="FFC000"/>
            </a:solidFill>
            <a:latin typeface="+mn-lt"/>
          </a:endParaRPr>
        </a:p>
      </dsp:txBody>
      <dsp:txXfrm>
        <a:off x="116825" y="294203"/>
        <a:ext cx="3823706" cy="811421"/>
      </dsp:txXfrm>
    </dsp:sp>
    <dsp:sp modelId="{9029C833-5D81-4AF3-A22B-CAF78E4D8115}">
      <dsp:nvSpPr>
        <dsp:cNvPr id="0" name=""/>
        <dsp:cNvSpPr/>
      </dsp:nvSpPr>
      <dsp:spPr>
        <a:xfrm>
          <a:off x="2606294" y="336060"/>
          <a:ext cx="934350" cy="7267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D3F465-A9B9-42A7-96A2-5351DF939E53}">
      <dsp:nvSpPr>
        <dsp:cNvPr id="0" name=""/>
        <dsp:cNvSpPr/>
      </dsp:nvSpPr>
      <dsp:spPr>
        <a:xfrm rot="5400000">
          <a:off x="3401331" y="2075448"/>
          <a:ext cx="763138" cy="868805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F86482-C45B-4DD5-BF41-98A9B9D285FF}">
      <dsp:nvSpPr>
        <dsp:cNvPr id="0" name=""/>
        <dsp:cNvSpPr/>
      </dsp:nvSpPr>
      <dsp:spPr>
        <a:xfrm>
          <a:off x="1950448" y="1260431"/>
          <a:ext cx="3911516" cy="899231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+mn-lt"/>
            </a:rPr>
            <a:t>2. Transfer the question codes generated to the </a:t>
          </a:r>
          <a:r>
            <a:rPr lang="en-US" sz="1800" b="1" kern="1200" dirty="0" smtClean="0">
              <a:solidFill>
                <a:srgbClr val="FFC000"/>
              </a:solidFill>
              <a:latin typeface="+mn-lt"/>
            </a:rPr>
            <a:t>Question Tracker Sheet</a:t>
          </a:r>
          <a:endParaRPr lang="en-US" sz="1800" b="1" kern="1200" dirty="0">
            <a:solidFill>
              <a:srgbClr val="FFC000"/>
            </a:solidFill>
            <a:latin typeface="+mn-lt"/>
          </a:endParaRPr>
        </a:p>
      </dsp:txBody>
      <dsp:txXfrm>
        <a:off x="1994353" y="1304336"/>
        <a:ext cx="3823706" cy="811421"/>
      </dsp:txXfrm>
    </dsp:sp>
    <dsp:sp modelId="{EA832866-040D-41F0-9AAA-87E3E96C7FE5}">
      <dsp:nvSpPr>
        <dsp:cNvPr id="0" name=""/>
        <dsp:cNvSpPr/>
      </dsp:nvSpPr>
      <dsp:spPr>
        <a:xfrm>
          <a:off x="4483821" y="1346194"/>
          <a:ext cx="934350" cy="7267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31E03E-C34C-446C-8140-C79D6064DF41}">
      <dsp:nvSpPr>
        <dsp:cNvPr id="0" name=""/>
        <dsp:cNvSpPr/>
      </dsp:nvSpPr>
      <dsp:spPr>
        <a:xfrm rot="5400000">
          <a:off x="5278859" y="3116519"/>
          <a:ext cx="763138" cy="868805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09F8B9-B4EE-4E91-A617-C7F9F9DD31AA}">
      <dsp:nvSpPr>
        <dsp:cNvPr id="0" name=""/>
        <dsp:cNvSpPr/>
      </dsp:nvSpPr>
      <dsp:spPr>
        <a:xfrm>
          <a:off x="3827975" y="2270565"/>
          <a:ext cx="3911516" cy="899231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+mn-lt"/>
            </a:rPr>
            <a:t>3. Select the matching questions from the </a:t>
          </a:r>
          <a:r>
            <a:rPr lang="en-US" sz="1800" b="1" kern="1200" dirty="0" smtClean="0">
              <a:solidFill>
                <a:srgbClr val="FFC000"/>
              </a:solidFill>
              <a:latin typeface="+mn-lt"/>
            </a:rPr>
            <a:t>Question Bank</a:t>
          </a:r>
          <a:r>
            <a:rPr lang="en-US" sz="1800" b="1" kern="1200" dirty="0" smtClean="0">
              <a:solidFill>
                <a:srgbClr val="FFFF00"/>
              </a:solidFill>
              <a:latin typeface="+mn-lt"/>
            </a:rPr>
            <a:t> </a:t>
          </a:r>
          <a:r>
            <a:rPr lang="en-US" sz="1800" b="0" kern="1200" dirty="0" smtClean="0">
              <a:latin typeface="+mn-lt"/>
            </a:rPr>
            <a:t>created</a:t>
          </a:r>
          <a:endParaRPr lang="en-US" sz="1800" b="0" kern="1200" dirty="0">
            <a:latin typeface="+mn-lt"/>
          </a:endParaRPr>
        </a:p>
      </dsp:txBody>
      <dsp:txXfrm>
        <a:off x="3871880" y="2314470"/>
        <a:ext cx="3823706" cy="811421"/>
      </dsp:txXfrm>
    </dsp:sp>
    <dsp:sp modelId="{FA7F97A8-0CBB-46AC-B0D4-0D84437E4206}">
      <dsp:nvSpPr>
        <dsp:cNvPr id="0" name=""/>
        <dsp:cNvSpPr/>
      </dsp:nvSpPr>
      <dsp:spPr>
        <a:xfrm>
          <a:off x="6361349" y="2356327"/>
          <a:ext cx="934350" cy="7267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E10D0D-1E5F-4187-B311-55E435532C5C}">
      <dsp:nvSpPr>
        <dsp:cNvPr id="0" name=""/>
        <dsp:cNvSpPr/>
      </dsp:nvSpPr>
      <dsp:spPr>
        <a:xfrm rot="5400000">
          <a:off x="7156387" y="4126652"/>
          <a:ext cx="763138" cy="868805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F96CD8-0E2B-4516-BE8A-8BB6B95BF27C}">
      <dsp:nvSpPr>
        <dsp:cNvPr id="0" name=""/>
        <dsp:cNvSpPr/>
      </dsp:nvSpPr>
      <dsp:spPr>
        <a:xfrm>
          <a:off x="5705503" y="3280698"/>
          <a:ext cx="3911516" cy="899231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+mn-lt"/>
            </a:rPr>
            <a:t>4. Transfer the matching questions to the </a:t>
          </a:r>
          <a:r>
            <a:rPr lang="en-US" sz="1800" b="1" kern="1200" dirty="0" smtClean="0">
              <a:solidFill>
                <a:srgbClr val="FFC000"/>
              </a:solidFill>
              <a:latin typeface="+mn-lt"/>
            </a:rPr>
            <a:t>Written Examination Questions Version and Answer key</a:t>
          </a:r>
          <a:endParaRPr lang="en-US" sz="1800" b="1" kern="1200" dirty="0">
            <a:solidFill>
              <a:srgbClr val="FFC000"/>
            </a:solidFill>
            <a:latin typeface="+mn-lt"/>
          </a:endParaRPr>
        </a:p>
      </dsp:txBody>
      <dsp:txXfrm>
        <a:off x="5749408" y="3324603"/>
        <a:ext cx="3823706" cy="811421"/>
      </dsp:txXfrm>
    </dsp:sp>
    <dsp:sp modelId="{CD4DA0BE-6BA4-426F-A8EE-A26B0DA8C702}">
      <dsp:nvSpPr>
        <dsp:cNvPr id="0" name=""/>
        <dsp:cNvSpPr/>
      </dsp:nvSpPr>
      <dsp:spPr>
        <a:xfrm>
          <a:off x="8238877" y="3366461"/>
          <a:ext cx="934350" cy="7267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28CCB2-5870-4DDA-95B8-72877258FBBF}">
      <dsp:nvSpPr>
        <dsp:cNvPr id="0" name=""/>
        <dsp:cNvSpPr/>
      </dsp:nvSpPr>
      <dsp:spPr>
        <a:xfrm>
          <a:off x="7518309" y="4290832"/>
          <a:ext cx="4230064" cy="899231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>
              <a:solidFill>
                <a:schemeClr val="bg1"/>
              </a:solidFill>
              <a:latin typeface="+mn-lt"/>
            </a:rPr>
            <a:t>5. Print the </a:t>
          </a:r>
          <a:r>
            <a:rPr lang="en-US" sz="1800" b="1" kern="1200" dirty="0" smtClean="0">
              <a:solidFill>
                <a:srgbClr val="FFC000"/>
              </a:solidFill>
              <a:latin typeface="+mn-lt"/>
            </a:rPr>
            <a:t>Written Examination Questions version </a:t>
          </a:r>
          <a:r>
            <a:rPr lang="en-US" sz="1800" b="0" kern="1200" dirty="0" smtClean="0">
              <a:solidFill>
                <a:schemeClr val="bg1"/>
              </a:solidFill>
              <a:latin typeface="+mn-lt"/>
            </a:rPr>
            <a:t>with the </a:t>
          </a:r>
          <a:r>
            <a:rPr lang="en-US" sz="1800" b="1" kern="1200" dirty="0" smtClean="0">
              <a:solidFill>
                <a:srgbClr val="FFC000"/>
              </a:solidFill>
              <a:latin typeface="+mn-lt"/>
            </a:rPr>
            <a:t>Examination Sheet </a:t>
          </a:r>
          <a:r>
            <a:rPr lang="en-US" sz="1800" b="0" kern="1200" dirty="0" smtClean="0">
              <a:solidFill>
                <a:schemeClr val="bg1"/>
              </a:solidFill>
              <a:latin typeface="+mn-lt"/>
            </a:rPr>
            <a:t>for each exam to be administered</a:t>
          </a:r>
          <a:endParaRPr lang="en-US" sz="1800" b="0" kern="1200" dirty="0">
            <a:solidFill>
              <a:schemeClr val="bg1"/>
            </a:solidFill>
            <a:latin typeface="+mn-lt"/>
          </a:endParaRPr>
        </a:p>
      </dsp:txBody>
      <dsp:txXfrm>
        <a:off x="7562214" y="4334737"/>
        <a:ext cx="4142254" cy="8114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8600"/>
            <a:ext cx="12192000" cy="1143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657600"/>
            <a:ext cx="8534400" cy="19812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8475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759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4830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, Calibri Bold, 32 </a:t>
            </a:r>
            <a:r>
              <a:rPr lang="en-US" noProof="0" dirty="0" err="1" smtClean="0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6"/>
            <a:ext cx="5505756" cy="1430520"/>
          </a:xfrm>
        </p:spPr>
        <p:txBody>
          <a:bodyPr wrap="square">
            <a:spAutoFit/>
          </a:bodyPr>
          <a:lstStyle>
            <a:lvl1pPr>
              <a:defRPr sz="1499" b="0">
                <a:solidFill>
                  <a:schemeClr val="tx1"/>
                </a:solidFill>
              </a:defRPr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en-US" noProof="0" dirty="0" smtClean="0"/>
              <a:t>Subhead, Calibri, 20 </a:t>
            </a:r>
            <a:r>
              <a:rPr lang="en-US" noProof="0" dirty="0" err="1" smtClean="0"/>
              <a:t>pt</a:t>
            </a:r>
            <a:endParaRPr lang="en-US" noProof="0" dirty="0" smtClean="0"/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130908" y="1629987"/>
            <a:ext cx="5505757" cy="4677279"/>
          </a:xfrm>
        </p:spPr>
        <p:txBody>
          <a:bodyPr/>
          <a:lstStyle>
            <a:lvl1pPr>
              <a:defRPr sz="1499"/>
            </a:lvl1pPr>
          </a:lstStyle>
          <a:p>
            <a:r>
              <a:rPr lang="en-US" dirty="0" smtClean="0"/>
              <a:t>Image</a:t>
            </a:r>
            <a:endParaRPr lang="en-US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2350" y="6634559"/>
            <a:ext cx="5505757" cy="11541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75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Footnote | Source | Disclaimer, Calibri ,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Abgerundetes Rechteck 42"/>
          <p:cNvSpPr/>
          <p:nvPr userDrawn="1"/>
        </p:nvSpPr>
        <p:spPr>
          <a:xfrm>
            <a:off x="12642623" y="6102341"/>
            <a:ext cx="1864485" cy="63485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26986" rIns="53972" bIns="53972" rtlCol="0" anchor="ctr"/>
          <a:lstStyle/>
          <a:p>
            <a:r>
              <a:rPr lang="en-US" sz="825" b="1" dirty="0">
                <a:solidFill>
                  <a:srgbClr val="2D1E1C"/>
                </a:solidFill>
              </a:rPr>
              <a:t>For changing images, please delete them and </a:t>
            </a:r>
            <a:r>
              <a:rPr lang="en-US" sz="825" b="1" dirty="0">
                <a:solidFill>
                  <a:prstClr val="white"/>
                </a:solidFill>
              </a:rPr>
              <a:t>insert a new one over click insert icon</a:t>
            </a:r>
            <a:endParaRPr lang="en-US" sz="825" dirty="0">
              <a:solidFill>
                <a:prstClr val="white"/>
              </a:solidFill>
            </a:endParaRPr>
          </a:p>
        </p:txBody>
      </p:sp>
      <p:grpSp>
        <p:nvGrpSpPr>
          <p:cNvPr id="12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4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/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2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93494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/Table of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6" name="Rechteck 215"/>
          <p:cNvSpPr/>
          <p:nvPr userDrawn="1"/>
        </p:nvSpPr>
        <p:spPr>
          <a:xfrm>
            <a:off x="0" y="1"/>
            <a:ext cx="12192000" cy="630726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 dirty="0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324" y="756946"/>
            <a:ext cx="5594609" cy="5557020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348" y="1628716"/>
            <a:ext cx="5648559" cy="1520416"/>
          </a:xfrm>
        </p:spPr>
        <p:txBody>
          <a:bodyPr>
            <a:spAutoFit/>
          </a:bodyPr>
          <a:lstStyle>
            <a:lvl1pPr marL="199918" indent="-199918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4232795" algn="r"/>
              </a:tabLst>
              <a:defRPr b="0">
                <a:solidFill>
                  <a:schemeClr val="tx1"/>
                </a:solidFill>
              </a:defRPr>
            </a:lvl1pPr>
            <a:lvl3pPr>
              <a:tabLst>
                <a:tab pos="4232795" algn="r"/>
              </a:tabLst>
              <a:defRPr baseline="0"/>
            </a:lvl3pPr>
          </a:lstStyle>
          <a:p>
            <a:pPr lvl="0"/>
            <a:r>
              <a:rPr lang="en-US" dirty="0" smtClean="0"/>
              <a:t>Click to add chapter title, [Tab] 	page #</a:t>
            </a:r>
          </a:p>
          <a:p>
            <a:pPr lvl="2"/>
            <a:r>
              <a:rPr lang="en-US" dirty="0" smtClean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2" y="797"/>
            <a:ext cx="12191300" cy="1623593"/>
            <a:chOff x="701" y="796"/>
            <a:chExt cx="12197649" cy="1623969"/>
          </a:xfrm>
        </p:grpSpPr>
        <p:sp>
          <p:nvSpPr>
            <p:cNvPr id="2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49" dirty="0">
                <a:solidFill>
                  <a:srgbClr val="5F5656"/>
                </a:solidFill>
              </a:endParaRPr>
            </a:p>
          </p:txBody>
        </p:sp>
        <p:grpSp>
          <p:nvGrpSpPr>
            <p:cNvPr id="2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251" name="Freihandform 2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r>
                  <a:rPr lang="en-US" sz="1574" kern="0" dirty="0">
                    <a:solidFill>
                      <a:sysClr val="windowText" lastClr="000000"/>
                    </a:solidFill>
                  </a:rPr>
                  <a:t> </a:t>
                </a:r>
              </a:p>
            </p:txBody>
          </p:sp>
          <p:sp>
            <p:nvSpPr>
              <p:cNvPr id="252" name="Freihandform 2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53" name="Freihandform 2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82349" y="216328"/>
            <a:ext cx="9139240" cy="49232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Introduction/Table of contents</a:t>
            </a:r>
            <a:r>
              <a:rPr lang="en-US" noProof="0" dirty="0" smtClean="0"/>
              <a:t>, Calibri Bold, 32 </a:t>
            </a:r>
            <a:r>
              <a:rPr lang="en-US" noProof="0" dirty="0" err="1" smtClean="0"/>
              <a:t>pt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12616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, Calibri Bold, 32 </a:t>
            </a:r>
            <a:r>
              <a:rPr lang="en-US" noProof="0" dirty="0" err="1" smtClean="0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5"/>
            <a:ext cx="11154316" cy="2307790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Subhead, Calibri, 26 </a:t>
            </a:r>
            <a:r>
              <a:rPr lang="en-US" noProof="0" dirty="0" err="1" smtClean="0"/>
              <a:t>pt</a:t>
            </a:r>
            <a:endParaRPr lang="en-US" noProof="0" dirty="0" smtClean="0"/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350" y="6542227"/>
            <a:ext cx="5505757" cy="207749"/>
          </a:xfrm>
        </p:spPr>
        <p:txBody>
          <a:bodyPr wrap="square" anchor="b">
            <a:spAutoFit/>
          </a:bodyPr>
          <a:lstStyle>
            <a:lvl1pPr>
              <a:defRPr sz="75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Footnote | Source | Disclaimer, Calibri ,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/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4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5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54749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484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404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9446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1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096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057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14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3104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029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62200"/>
            <a:ext cx="121920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Generating </a:t>
            </a:r>
            <a:r>
              <a:rPr lang="en-US" dirty="0"/>
              <a:t>the </a:t>
            </a:r>
            <a:r>
              <a:rPr lang="en-US" dirty="0" smtClean="0"/>
              <a:t>Written Examination Ques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7695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1. Registration Sheet (2)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9420" t="18085" r="15251" b="19023"/>
          <a:stretch/>
        </p:blipFill>
        <p:spPr>
          <a:xfrm>
            <a:off x="2079523" y="1485631"/>
            <a:ext cx="8273845" cy="528759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134902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2</a:t>
            </a:r>
            <a:r>
              <a:rPr lang="en-US" dirty="0" smtClean="0"/>
              <a:t>. Written </a:t>
            </a:r>
            <a:r>
              <a:rPr lang="en-US" dirty="0"/>
              <a:t>Examination </a:t>
            </a:r>
            <a:r>
              <a:rPr lang="en-US" dirty="0" smtClean="0"/>
              <a:t>Question version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5847" t="25396" r="75965" b="27826"/>
          <a:stretch/>
        </p:blipFill>
        <p:spPr>
          <a:xfrm>
            <a:off x="1877956" y="1692214"/>
            <a:ext cx="7417087" cy="499001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118643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 smtClean="0"/>
              <a:t>3. Written Examination Questions with Answer Key for Evaluator</a:t>
            </a:r>
            <a:endParaRPr lang="en-US" sz="40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93289" y="1600200"/>
            <a:ext cx="7623675" cy="5194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4438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ritten Examination Sheet (1)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8504" t="27209" r="14335" b="10226"/>
          <a:stretch/>
        </p:blipFill>
        <p:spPr>
          <a:xfrm>
            <a:off x="1961535" y="1417638"/>
            <a:ext cx="8878529" cy="544036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809476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ester Completing </a:t>
            </a:r>
            <a:r>
              <a:rPr lang="en-US" dirty="0"/>
              <a:t>the Written Examination Sheet (</a:t>
            </a:r>
            <a:r>
              <a:rPr lang="en-US" dirty="0" smtClean="0"/>
              <a:t>2)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3849" t="33466" r="76984" b="27266"/>
          <a:stretch/>
        </p:blipFill>
        <p:spPr>
          <a:xfrm>
            <a:off x="446314" y="1580606"/>
            <a:ext cx="11299372" cy="512332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087898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Evaluator Completing </a:t>
            </a:r>
            <a:r>
              <a:rPr lang="en-US" dirty="0"/>
              <a:t>the Written Examination Sheet (</a:t>
            </a:r>
            <a:r>
              <a:rPr lang="en-US" dirty="0" smtClean="0"/>
              <a:t>3)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8320" t="44154" r="14153" b="17720"/>
          <a:stretch/>
        </p:blipFill>
        <p:spPr>
          <a:xfrm>
            <a:off x="40085" y="1769806"/>
            <a:ext cx="12230570" cy="455725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8297462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What is the purpose of the written competency assessment tools?</a:t>
            </a:r>
          </a:p>
          <a:p>
            <a:r>
              <a:rPr lang="en-US" sz="3600" dirty="0" smtClean="0"/>
              <a:t>What are the steps for generating written exam questions?</a:t>
            </a:r>
          </a:p>
          <a:p>
            <a:r>
              <a:rPr lang="en-US" sz="3600" dirty="0" smtClean="0"/>
              <a:t>What constitute the written examination packet?</a:t>
            </a:r>
          </a:p>
          <a:p>
            <a:pPr marL="0" indent="0">
              <a:buNone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715017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rning 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057401"/>
            <a:ext cx="10972800" cy="4525963"/>
          </a:xfrm>
        </p:spPr>
        <p:txBody>
          <a:bodyPr/>
          <a:lstStyle/>
          <a:p>
            <a:r>
              <a:rPr lang="en-US" dirty="0" smtClean="0"/>
              <a:t>At the end of the session, you will be able to:</a:t>
            </a:r>
          </a:p>
          <a:p>
            <a:pPr lvl="1"/>
            <a:r>
              <a:rPr lang="en-US" dirty="0" smtClean="0"/>
              <a:t>Understand the purpose of the competency assessment tools</a:t>
            </a:r>
          </a:p>
          <a:p>
            <a:pPr lvl="1"/>
            <a:r>
              <a:rPr lang="en-US" dirty="0" smtClean="0"/>
              <a:t>Describe the steps for generating the written exam questions</a:t>
            </a:r>
          </a:p>
          <a:p>
            <a:pPr lvl="1"/>
            <a:r>
              <a:rPr lang="en-US" dirty="0" smtClean="0"/>
              <a:t>Create a written examination pack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5097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s for Generating Written Exam Questions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55364661"/>
              </p:ext>
            </p:extLst>
          </p:nvPr>
        </p:nvGraphicFramePr>
        <p:xfrm>
          <a:off x="104502" y="1417638"/>
          <a:ext cx="11756572" cy="54403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5256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ep 1. Create 25 question </a:t>
            </a:r>
            <a:r>
              <a:rPr lang="en-US" dirty="0"/>
              <a:t>codes using the Random Question </a:t>
            </a:r>
            <a:r>
              <a:rPr lang="en-US" dirty="0" smtClean="0"/>
              <a:t>Generator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56774" t="8856" b="5497"/>
          <a:stretch/>
        </p:blipFill>
        <p:spPr>
          <a:xfrm>
            <a:off x="2295329" y="1510477"/>
            <a:ext cx="7557797" cy="5347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6930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ep 2. Transfer the question codes </a:t>
            </a:r>
            <a:r>
              <a:rPr lang="en-US" dirty="0" smtClean="0"/>
              <a:t>to </a:t>
            </a:r>
            <a:r>
              <a:rPr lang="en-US" dirty="0"/>
              <a:t>the Question Tracker </a:t>
            </a:r>
            <a:r>
              <a:rPr lang="en-US" dirty="0" smtClean="0"/>
              <a:t>Sheet</a:t>
            </a:r>
            <a:endParaRPr lang="en-US" dirty="0"/>
          </a:p>
        </p:txBody>
      </p:sp>
      <p:pic>
        <p:nvPicPr>
          <p:cNvPr id="6" name="Content Placeholder 3"/>
          <p:cNvPicPr>
            <a:picLocks noChangeAspect="1"/>
          </p:cNvPicPr>
          <p:nvPr/>
        </p:nvPicPr>
        <p:blipFill rotWithShape="1">
          <a:blip r:embed="rId2"/>
          <a:srcRect l="56774" t="8856" b="5497"/>
          <a:stretch/>
        </p:blipFill>
        <p:spPr>
          <a:xfrm>
            <a:off x="0" y="2080727"/>
            <a:ext cx="4905640" cy="347098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56645" t="8539" r="4831" b="8331"/>
          <a:stretch/>
        </p:blipFill>
        <p:spPr>
          <a:xfrm>
            <a:off x="5434149" y="1707502"/>
            <a:ext cx="6684111" cy="5150498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V="1">
            <a:off x="4700329" y="3247053"/>
            <a:ext cx="963353" cy="641813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9793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ep 3. Select </a:t>
            </a:r>
            <a:r>
              <a:rPr lang="en-US" dirty="0"/>
              <a:t>the matching questions from the Question </a:t>
            </a:r>
            <a:r>
              <a:rPr lang="en-US" dirty="0" smtClean="0"/>
              <a:t>Bank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43" y="2594383"/>
            <a:ext cx="5598692" cy="3964291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36222" y="3617570"/>
            <a:ext cx="4090737" cy="14327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56772" t="17423" r="11921" b="5520"/>
          <a:stretch/>
        </p:blipFill>
        <p:spPr>
          <a:xfrm>
            <a:off x="6284920" y="1600201"/>
            <a:ext cx="5907080" cy="5191891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4763065" y="2487382"/>
            <a:ext cx="1675057" cy="2818245"/>
            <a:chOff x="-335052" y="3569755"/>
            <a:chExt cx="1226287" cy="3193640"/>
          </a:xfrm>
        </p:grpSpPr>
        <p:cxnSp>
          <p:nvCxnSpPr>
            <p:cNvPr id="11" name="Straight Arrow Connector 10"/>
            <p:cNvCxnSpPr/>
            <p:nvPr/>
          </p:nvCxnSpPr>
          <p:spPr>
            <a:xfrm flipV="1">
              <a:off x="-335052" y="3569755"/>
              <a:ext cx="1226287" cy="1316359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-304553" y="4886114"/>
              <a:ext cx="1195788" cy="1051065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-335052" y="4850486"/>
              <a:ext cx="1226287" cy="1912909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62523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ep 4. Transfer Matching Questions </a:t>
            </a:r>
            <a:r>
              <a:rPr lang="en-US" dirty="0"/>
              <a:t>to the Written Examination </a:t>
            </a:r>
            <a:r>
              <a:rPr lang="en-US" dirty="0" smtClean="0"/>
              <a:t>Question Templat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l="56772" t="17423" r="11921" b="5520"/>
          <a:stretch/>
        </p:blipFill>
        <p:spPr>
          <a:xfrm>
            <a:off x="78423" y="2272003"/>
            <a:ext cx="4310062" cy="3788229"/>
          </a:xfrm>
          <a:prstGeom prst="rect">
            <a:avLst/>
          </a:prstGeom>
        </p:spPr>
      </p:pic>
      <p:cxnSp>
        <p:nvCxnSpPr>
          <p:cNvPr id="15" name="Straight Arrow Connector 14"/>
          <p:cNvCxnSpPr/>
          <p:nvPr/>
        </p:nvCxnSpPr>
        <p:spPr>
          <a:xfrm>
            <a:off x="4152122" y="2823134"/>
            <a:ext cx="1177523" cy="76694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152122" y="4598429"/>
            <a:ext cx="1110343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152122" y="5000742"/>
            <a:ext cx="1227452" cy="64490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Content Placeholder 21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701476" y="1978089"/>
            <a:ext cx="7490524" cy="4376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365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ep 5</a:t>
            </a:r>
            <a:r>
              <a:rPr lang="en-US" dirty="0" smtClean="0"/>
              <a:t>. Creating Written Examination Packet for Evaluator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9600" y="1880119"/>
            <a:ext cx="10972800" cy="4525963"/>
          </a:xfrm>
        </p:spPr>
        <p:txBody>
          <a:bodyPr/>
          <a:lstStyle/>
          <a:p>
            <a:r>
              <a:rPr lang="en-US" dirty="0" smtClean="0"/>
              <a:t>Registration sheet</a:t>
            </a:r>
          </a:p>
          <a:p>
            <a:r>
              <a:rPr lang="en-US" dirty="0" smtClean="0"/>
              <a:t>Written Examination Question Version</a:t>
            </a:r>
          </a:p>
          <a:p>
            <a:r>
              <a:rPr lang="en-US" dirty="0"/>
              <a:t>Written Examination Question </a:t>
            </a:r>
            <a:r>
              <a:rPr lang="en-US" dirty="0" smtClean="0"/>
              <a:t>Version with answer key</a:t>
            </a:r>
          </a:p>
          <a:p>
            <a:r>
              <a:rPr lang="en-US" dirty="0" smtClean="0"/>
              <a:t>Written </a:t>
            </a:r>
            <a:r>
              <a:rPr lang="en-US" dirty="0"/>
              <a:t>E</a:t>
            </a:r>
            <a:r>
              <a:rPr lang="en-US" dirty="0" smtClean="0"/>
              <a:t>xamination Sheet</a:t>
            </a: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690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1. Registration Sheet (1)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8686" t="19063" r="14336" b="10225"/>
          <a:stretch/>
        </p:blipFill>
        <p:spPr>
          <a:xfrm>
            <a:off x="2418735" y="1417638"/>
            <a:ext cx="7627920" cy="532237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6347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81</TotalTime>
  <Words>272</Words>
  <Application>Microsoft Office PowerPoint</Application>
  <PresentationFormat>Widescreen</PresentationFormat>
  <Paragraphs>32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Garamond</vt:lpstr>
      <vt:lpstr>Verdana</vt:lpstr>
      <vt:lpstr>Wingdings</vt:lpstr>
      <vt:lpstr>1_Office Theme</vt:lpstr>
      <vt:lpstr>think-cell Folie</vt:lpstr>
      <vt:lpstr>Generating the Written Examination Question</vt:lpstr>
      <vt:lpstr>Learning Objectives</vt:lpstr>
      <vt:lpstr>Steps for Generating Written Exam Questions</vt:lpstr>
      <vt:lpstr>Step 1. Create 25 question codes using the Random Question Generator</vt:lpstr>
      <vt:lpstr>Step 2. Transfer the question codes to the Question Tracker Sheet</vt:lpstr>
      <vt:lpstr>Step 3. Select the matching questions from the Question Bank</vt:lpstr>
      <vt:lpstr>Step 4. Transfer Matching Questions to the Written Examination Question Template</vt:lpstr>
      <vt:lpstr>Step 5. Creating Written Examination Packet for Evaluator</vt:lpstr>
      <vt:lpstr>1. Registration Sheet (1)</vt:lpstr>
      <vt:lpstr>1. Registration Sheet (2)</vt:lpstr>
      <vt:lpstr>2. Written Examination Question version</vt:lpstr>
      <vt:lpstr>3. Written Examination Questions with Answer Key for Evaluator</vt:lpstr>
      <vt:lpstr>Written Examination Sheet (1)</vt:lpstr>
      <vt:lpstr>Tester Completing the Written Examination Sheet (2)</vt:lpstr>
      <vt:lpstr>Evaluator Completing the Written Examination Sheet (3)</vt:lpstr>
      <vt:lpstr>Summary</vt:lpstr>
    </vt:vector>
  </TitlesOfParts>
  <Company>Centers for Disease Control and Preven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ging the Offline Competency Assessment Tools</dc:title>
  <dc:creator>Kalou, Mireille B. (CDC/CGH/DGHT)</dc:creator>
  <cp:lastModifiedBy>Jackson, Keisha G. (CDC/CGH/DGHT)</cp:lastModifiedBy>
  <cp:revision>25</cp:revision>
  <dcterms:created xsi:type="dcterms:W3CDTF">2017-04-18T20:57:07Z</dcterms:created>
  <dcterms:modified xsi:type="dcterms:W3CDTF">2018-05-23T19:03:23Z</dcterms:modified>
</cp:coreProperties>
</file>